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136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066" y="3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99C7F4-F7EE-4A37-9289-E8C2B9D6C60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54771E6-2CB2-47D9-882C-F0569703CD64}">
      <dgm:prSet phldrT="[Text]"/>
      <dgm:spPr>
        <a:solidFill>
          <a:srgbClr val="0070C0"/>
        </a:solidFill>
      </dgm:spPr>
      <dgm:t>
        <a:bodyPr/>
        <a:lstStyle/>
        <a:p>
          <a:pPr>
            <a:buFont typeface="+mj-lt"/>
            <a:buAutoNum type="arabicPeriod"/>
          </a:pPr>
          <a:r>
            <a:rPr lang="en-US" dirty="0">
              <a:solidFill>
                <a:schemeClr val="bg1"/>
              </a:solidFill>
            </a:rPr>
            <a:t>Step 1</a:t>
          </a:r>
        </a:p>
      </dgm:t>
    </dgm:pt>
    <dgm:pt modelId="{37417E3B-B09F-4EFE-BCA3-71AE10105790}" type="parTrans" cxnId="{ED8380EE-7C4B-4C5D-A130-5496E3BD312F}">
      <dgm:prSet/>
      <dgm:spPr/>
      <dgm:t>
        <a:bodyPr/>
        <a:lstStyle/>
        <a:p>
          <a:endParaRPr lang="en-US"/>
        </a:p>
      </dgm:t>
    </dgm:pt>
    <dgm:pt modelId="{BB5E335C-9BE1-4DF9-A0C3-88D63FED2479}" type="sibTrans" cxnId="{ED8380EE-7C4B-4C5D-A130-5496E3BD312F}">
      <dgm:prSet/>
      <dgm:spPr>
        <a:solidFill>
          <a:schemeClr val="accent1"/>
        </a:solidFill>
      </dgm:spPr>
      <dgm:t>
        <a:bodyPr/>
        <a:lstStyle/>
        <a:p>
          <a:endParaRPr lang="en-US"/>
        </a:p>
      </dgm:t>
    </dgm:pt>
    <dgm:pt modelId="{3D903C4C-71F8-4881-9EEC-F57E7C380259}">
      <dgm:prSet/>
      <dgm:spPr>
        <a:solidFill>
          <a:srgbClr val="0070C0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Step 2</a:t>
          </a:r>
        </a:p>
      </dgm:t>
    </dgm:pt>
    <dgm:pt modelId="{52BA1B83-D5B0-4D38-9F92-6897614D2D16}" type="parTrans" cxnId="{1506BDEE-BCB9-4A47-8BDE-057096350F18}">
      <dgm:prSet/>
      <dgm:spPr/>
      <dgm:t>
        <a:bodyPr/>
        <a:lstStyle/>
        <a:p>
          <a:endParaRPr lang="en-US"/>
        </a:p>
      </dgm:t>
    </dgm:pt>
    <dgm:pt modelId="{AD3855F5-8309-4DBD-920C-335730080D89}" type="sibTrans" cxnId="{1506BDEE-BCB9-4A47-8BDE-057096350F18}">
      <dgm:prSet/>
      <dgm:spPr>
        <a:solidFill>
          <a:schemeClr val="accent1"/>
        </a:solidFill>
      </dgm:spPr>
      <dgm:t>
        <a:bodyPr/>
        <a:lstStyle/>
        <a:p>
          <a:endParaRPr lang="en-US"/>
        </a:p>
      </dgm:t>
    </dgm:pt>
    <dgm:pt modelId="{4FFAD816-19A7-444E-8CF8-8075F1C7E1C9}">
      <dgm:prSet/>
      <dgm:spPr>
        <a:solidFill>
          <a:srgbClr val="0070C0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Step 3</a:t>
          </a:r>
        </a:p>
      </dgm:t>
    </dgm:pt>
    <dgm:pt modelId="{8ED77595-4B64-4010-B22D-D6D9D91D33D2}" type="parTrans" cxnId="{B3D0E661-B344-46DC-BFD0-74B20DAB6D5C}">
      <dgm:prSet/>
      <dgm:spPr/>
      <dgm:t>
        <a:bodyPr/>
        <a:lstStyle/>
        <a:p>
          <a:endParaRPr lang="en-US"/>
        </a:p>
      </dgm:t>
    </dgm:pt>
    <dgm:pt modelId="{5C264733-3B7C-447E-9E53-40368D476793}" type="sibTrans" cxnId="{B3D0E661-B344-46DC-BFD0-74B20DAB6D5C}">
      <dgm:prSet/>
      <dgm:spPr>
        <a:solidFill>
          <a:schemeClr val="accent1"/>
        </a:solidFill>
      </dgm:spPr>
      <dgm:t>
        <a:bodyPr/>
        <a:lstStyle/>
        <a:p>
          <a:endParaRPr lang="en-US"/>
        </a:p>
      </dgm:t>
    </dgm:pt>
    <dgm:pt modelId="{D2C35357-AF76-43C7-9943-7D103EE6A9EB}">
      <dgm:prSet custT="1"/>
      <dgm:spPr>
        <a:solidFill>
          <a:srgbClr val="0070C0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24003" tIns="16002" rIns="8001" bIns="16002" numCol="1" spcCol="1270" anchor="ctr" anchorCtr="0"/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Step 4</a:t>
          </a:r>
        </a:p>
      </dgm:t>
    </dgm:pt>
    <dgm:pt modelId="{098D34E1-8937-4547-BE56-D9E059F207E9}" type="parTrans" cxnId="{C5B85B0F-7AA4-4B51-8092-4F9150D2C3F5}">
      <dgm:prSet/>
      <dgm:spPr/>
      <dgm:t>
        <a:bodyPr/>
        <a:lstStyle/>
        <a:p>
          <a:endParaRPr lang="en-US"/>
        </a:p>
      </dgm:t>
    </dgm:pt>
    <dgm:pt modelId="{703DAB55-BA69-42DE-B754-03191479E3C5}" type="sibTrans" cxnId="{C5B85B0F-7AA4-4B51-8092-4F9150D2C3F5}">
      <dgm:prSet/>
      <dgm:spPr/>
      <dgm:t>
        <a:bodyPr/>
        <a:lstStyle/>
        <a:p>
          <a:endParaRPr lang="en-US"/>
        </a:p>
      </dgm:t>
    </dgm:pt>
    <dgm:pt modelId="{264B7787-D9B5-42BC-8962-3B9A4E259655}">
      <dgm:prSet/>
      <dgm:spPr>
        <a:solidFill>
          <a:srgbClr val="0070C0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UAT</a:t>
          </a:r>
        </a:p>
      </dgm:t>
    </dgm:pt>
    <dgm:pt modelId="{A10E6027-A912-451E-8F60-DD808539FDF8}" type="parTrans" cxnId="{315F67BD-8453-4A47-8EF4-54F9B23EC3B4}">
      <dgm:prSet/>
      <dgm:spPr/>
      <dgm:t>
        <a:bodyPr/>
        <a:lstStyle/>
        <a:p>
          <a:endParaRPr lang="en-US"/>
        </a:p>
      </dgm:t>
    </dgm:pt>
    <dgm:pt modelId="{7107D2C5-D317-4CA8-8922-3854DD45F358}" type="sibTrans" cxnId="{315F67BD-8453-4A47-8EF4-54F9B23EC3B4}">
      <dgm:prSet/>
      <dgm:spPr/>
      <dgm:t>
        <a:bodyPr/>
        <a:lstStyle/>
        <a:p>
          <a:endParaRPr lang="en-US"/>
        </a:p>
      </dgm:t>
    </dgm:pt>
    <dgm:pt modelId="{28B7E661-19FC-47AC-8B43-0B15CE0B9775}" type="pres">
      <dgm:prSet presAssocID="{4999C7F4-F7EE-4A37-9289-E8C2B9D6C601}" presName="Name0" presStyleCnt="0">
        <dgm:presLayoutVars>
          <dgm:dir/>
          <dgm:resizeHandles val="exact"/>
        </dgm:presLayoutVars>
      </dgm:prSet>
      <dgm:spPr/>
    </dgm:pt>
    <dgm:pt modelId="{2932B460-5261-4884-874F-3AD3D07A63B1}" type="pres">
      <dgm:prSet presAssocID="{B54771E6-2CB2-47D9-882C-F0569703CD64}" presName="parTxOnly" presStyleLbl="node1" presStyleIdx="0" presStyleCnt="5">
        <dgm:presLayoutVars>
          <dgm:bulletEnabled val="1"/>
        </dgm:presLayoutVars>
      </dgm:prSet>
      <dgm:spPr/>
    </dgm:pt>
    <dgm:pt modelId="{5C1B9C46-6663-4BDF-933B-B19FB75F9301}" type="pres">
      <dgm:prSet presAssocID="{BB5E335C-9BE1-4DF9-A0C3-88D63FED2479}" presName="parSpace" presStyleCnt="0"/>
      <dgm:spPr/>
    </dgm:pt>
    <dgm:pt modelId="{134FCBDC-4265-44FF-A6B6-6AE2249A7F10}" type="pres">
      <dgm:prSet presAssocID="{3D903C4C-71F8-4881-9EEC-F57E7C380259}" presName="parTxOnly" presStyleLbl="node1" presStyleIdx="1" presStyleCnt="5">
        <dgm:presLayoutVars>
          <dgm:bulletEnabled val="1"/>
        </dgm:presLayoutVars>
      </dgm:prSet>
      <dgm:spPr/>
    </dgm:pt>
    <dgm:pt modelId="{3647CB09-C22B-42C6-9E4D-B4B1BEE78C58}" type="pres">
      <dgm:prSet presAssocID="{AD3855F5-8309-4DBD-920C-335730080D89}" presName="parSpace" presStyleCnt="0"/>
      <dgm:spPr/>
    </dgm:pt>
    <dgm:pt modelId="{CF4E7073-9EAE-4770-B642-AA0F974E1897}" type="pres">
      <dgm:prSet presAssocID="{4FFAD816-19A7-444E-8CF8-8075F1C7E1C9}" presName="parTxOnly" presStyleLbl="node1" presStyleIdx="2" presStyleCnt="5">
        <dgm:presLayoutVars>
          <dgm:bulletEnabled val="1"/>
        </dgm:presLayoutVars>
      </dgm:prSet>
      <dgm:spPr/>
    </dgm:pt>
    <dgm:pt modelId="{ED7253DA-17E2-44AC-99A5-76038B6C82EB}" type="pres">
      <dgm:prSet presAssocID="{5C264733-3B7C-447E-9E53-40368D476793}" presName="parSpace" presStyleCnt="0"/>
      <dgm:spPr/>
    </dgm:pt>
    <dgm:pt modelId="{342D1293-6A2D-448C-A131-849EFE549DE8}" type="pres">
      <dgm:prSet presAssocID="{D2C35357-AF76-43C7-9943-7D103EE6A9EB}" presName="parTxOnly" presStyleLbl="node1" presStyleIdx="3" presStyleCnt="5">
        <dgm:presLayoutVars>
          <dgm:bulletEnabled val="1"/>
        </dgm:presLayoutVars>
      </dgm:prSet>
      <dgm:spPr>
        <a:xfrm>
          <a:off x="2244494" y="64428"/>
          <a:ext cx="935006" cy="374002"/>
        </a:xfrm>
        <a:prstGeom prst="chevron">
          <a:avLst/>
        </a:prstGeom>
      </dgm:spPr>
    </dgm:pt>
    <dgm:pt modelId="{40EB5153-4A1A-4AB1-B2FB-F9E2B8AA6D90}" type="pres">
      <dgm:prSet presAssocID="{703DAB55-BA69-42DE-B754-03191479E3C5}" presName="parSpace" presStyleCnt="0"/>
      <dgm:spPr/>
    </dgm:pt>
    <dgm:pt modelId="{CF7ED32B-A9AE-423F-B576-9F6B1EE5ABE3}" type="pres">
      <dgm:prSet presAssocID="{264B7787-D9B5-42BC-8962-3B9A4E259655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C5B85B0F-7AA4-4B51-8092-4F9150D2C3F5}" srcId="{4999C7F4-F7EE-4A37-9289-E8C2B9D6C601}" destId="{D2C35357-AF76-43C7-9943-7D103EE6A9EB}" srcOrd="3" destOrd="0" parTransId="{098D34E1-8937-4547-BE56-D9E059F207E9}" sibTransId="{703DAB55-BA69-42DE-B754-03191479E3C5}"/>
    <dgm:cxn modelId="{BA6EB927-3FE0-4ED1-926D-F790D0A71A45}" type="presOf" srcId="{D2C35357-AF76-43C7-9943-7D103EE6A9EB}" destId="{342D1293-6A2D-448C-A131-849EFE549DE8}" srcOrd="0" destOrd="0" presId="urn:microsoft.com/office/officeart/2005/8/layout/hChevron3"/>
    <dgm:cxn modelId="{B3D0E661-B344-46DC-BFD0-74B20DAB6D5C}" srcId="{4999C7F4-F7EE-4A37-9289-E8C2B9D6C601}" destId="{4FFAD816-19A7-444E-8CF8-8075F1C7E1C9}" srcOrd="2" destOrd="0" parTransId="{8ED77595-4B64-4010-B22D-D6D9D91D33D2}" sibTransId="{5C264733-3B7C-447E-9E53-40368D476793}"/>
    <dgm:cxn modelId="{1EF7ED65-F4D6-49C5-B916-0A17748B3F53}" type="presOf" srcId="{B54771E6-2CB2-47D9-882C-F0569703CD64}" destId="{2932B460-5261-4884-874F-3AD3D07A63B1}" srcOrd="0" destOrd="0" presId="urn:microsoft.com/office/officeart/2005/8/layout/hChevron3"/>
    <dgm:cxn modelId="{DFB19A7E-8AEC-4F94-A788-37330FEBC699}" type="presOf" srcId="{4FFAD816-19A7-444E-8CF8-8075F1C7E1C9}" destId="{CF4E7073-9EAE-4770-B642-AA0F974E1897}" srcOrd="0" destOrd="0" presId="urn:microsoft.com/office/officeart/2005/8/layout/hChevron3"/>
    <dgm:cxn modelId="{B198D185-3A94-4830-9E11-CB38C5D8FAB0}" type="presOf" srcId="{264B7787-D9B5-42BC-8962-3B9A4E259655}" destId="{CF7ED32B-A9AE-423F-B576-9F6B1EE5ABE3}" srcOrd="0" destOrd="0" presId="urn:microsoft.com/office/officeart/2005/8/layout/hChevron3"/>
    <dgm:cxn modelId="{3E9E9CB5-4E09-4854-B0E1-868AAE5E05ED}" type="presOf" srcId="{4999C7F4-F7EE-4A37-9289-E8C2B9D6C601}" destId="{28B7E661-19FC-47AC-8B43-0B15CE0B9775}" srcOrd="0" destOrd="0" presId="urn:microsoft.com/office/officeart/2005/8/layout/hChevron3"/>
    <dgm:cxn modelId="{315F67BD-8453-4A47-8EF4-54F9B23EC3B4}" srcId="{4999C7F4-F7EE-4A37-9289-E8C2B9D6C601}" destId="{264B7787-D9B5-42BC-8962-3B9A4E259655}" srcOrd="4" destOrd="0" parTransId="{A10E6027-A912-451E-8F60-DD808539FDF8}" sibTransId="{7107D2C5-D317-4CA8-8922-3854DD45F358}"/>
    <dgm:cxn modelId="{B824C5E7-B268-4E90-9B57-12F970E3BA80}" type="presOf" srcId="{3D903C4C-71F8-4881-9EEC-F57E7C380259}" destId="{134FCBDC-4265-44FF-A6B6-6AE2249A7F10}" srcOrd="0" destOrd="0" presId="urn:microsoft.com/office/officeart/2005/8/layout/hChevron3"/>
    <dgm:cxn modelId="{ED8380EE-7C4B-4C5D-A130-5496E3BD312F}" srcId="{4999C7F4-F7EE-4A37-9289-E8C2B9D6C601}" destId="{B54771E6-2CB2-47D9-882C-F0569703CD64}" srcOrd="0" destOrd="0" parTransId="{37417E3B-B09F-4EFE-BCA3-71AE10105790}" sibTransId="{BB5E335C-9BE1-4DF9-A0C3-88D63FED2479}"/>
    <dgm:cxn modelId="{1506BDEE-BCB9-4A47-8BDE-057096350F18}" srcId="{4999C7F4-F7EE-4A37-9289-E8C2B9D6C601}" destId="{3D903C4C-71F8-4881-9EEC-F57E7C380259}" srcOrd="1" destOrd="0" parTransId="{52BA1B83-D5B0-4D38-9F92-6897614D2D16}" sibTransId="{AD3855F5-8309-4DBD-920C-335730080D89}"/>
    <dgm:cxn modelId="{28B92A17-2803-4B57-9479-F92B1FEE79C3}" type="presParOf" srcId="{28B7E661-19FC-47AC-8B43-0B15CE0B9775}" destId="{2932B460-5261-4884-874F-3AD3D07A63B1}" srcOrd="0" destOrd="0" presId="urn:microsoft.com/office/officeart/2005/8/layout/hChevron3"/>
    <dgm:cxn modelId="{C24586EA-D3CD-41F9-AE57-B64B9D91A7EA}" type="presParOf" srcId="{28B7E661-19FC-47AC-8B43-0B15CE0B9775}" destId="{5C1B9C46-6663-4BDF-933B-B19FB75F9301}" srcOrd="1" destOrd="0" presId="urn:microsoft.com/office/officeart/2005/8/layout/hChevron3"/>
    <dgm:cxn modelId="{8580105D-5C3B-4101-8603-50C36F2F050B}" type="presParOf" srcId="{28B7E661-19FC-47AC-8B43-0B15CE0B9775}" destId="{134FCBDC-4265-44FF-A6B6-6AE2249A7F10}" srcOrd="2" destOrd="0" presId="urn:microsoft.com/office/officeart/2005/8/layout/hChevron3"/>
    <dgm:cxn modelId="{D8D24439-DFB5-445F-936D-34C38CB9241A}" type="presParOf" srcId="{28B7E661-19FC-47AC-8B43-0B15CE0B9775}" destId="{3647CB09-C22B-42C6-9E4D-B4B1BEE78C58}" srcOrd="3" destOrd="0" presId="urn:microsoft.com/office/officeart/2005/8/layout/hChevron3"/>
    <dgm:cxn modelId="{D0D25A9C-82AF-4F93-97B8-EEA9C50F78B7}" type="presParOf" srcId="{28B7E661-19FC-47AC-8B43-0B15CE0B9775}" destId="{CF4E7073-9EAE-4770-B642-AA0F974E1897}" srcOrd="4" destOrd="0" presId="urn:microsoft.com/office/officeart/2005/8/layout/hChevron3"/>
    <dgm:cxn modelId="{3E60C1AD-CC8A-4877-B1F8-4EB958EBA691}" type="presParOf" srcId="{28B7E661-19FC-47AC-8B43-0B15CE0B9775}" destId="{ED7253DA-17E2-44AC-99A5-76038B6C82EB}" srcOrd="5" destOrd="0" presId="urn:microsoft.com/office/officeart/2005/8/layout/hChevron3"/>
    <dgm:cxn modelId="{93009BA2-2A56-40B1-8E2E-5985FA4CC480}" type="presParOf" srcId="{28B7E661-19FC-47AC-8B43-0B15CE0B9775}" destId="{342D1293-6A2D-448C-A131-849EFE549DE8}" srcOrd="6" destOrd="0" presId="urn:microsoft.com/office/officeart/2005/8/layout/hChevron3"/>
    <dgm:cxn modelId="{369E3283-7B14-4E7F-8B3F-03F00FE0EC7C}" type="presParOf" srcId="{28B7E661-19FC-47AC-8B43-0B15CE0B9775}" destId="{40EB5153-4A1A-4AB1-B2FB-F9E2B8AA6D90}" srcOrd="7" destOrd="0" presId="urn:microsoft.com/office/officeart/2005/8/layout/hChevron3"/>
    <dgm:cxn modelId="{4DA90C44-5598-479B-A2EA-948C84D72524}" type="presParOf" srcId="{28B7E661-19FC-47AC-8B43-0B15CE0B9775}" destId="{CF7ED32B-A9AE-423F-B576-9F6B1EE5ABE3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32B460-5261-4884-874F-3AD3D07A63B1}">
      <dsp:nvSpPr>
        <dsp:cNvPr id="0" name=""/>
        <dsp:cNvSpPr/>
      </dsp:nvSpPr>
      <dsp:spPr>
        <a:xfrm>
          <a:off x="479" y="64428"/>
          <a:ext cx="935006" cy="374002"/>
        </a:xfrm>
        <a:prstGeom prst="homePlate">
          <a:avLst/>
        </a:prstGeom>
        <a:solidFill>
          <a:srgbClr val="0070C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400" kern="1200" dirty="0">
              <a:solidFill>
                <a:schemeClr val="bg1"/>
              </a:solidFill>
            </a:rPr>
            <a:t>Step 1</a:t>
          </a:r>
        </a:p>
      </dsp:txBody>
      <dsp:txXfrm>
        <a:off x="479" y="64428"/>
        <a:ext cx="841506" cy="374002"/>
      </dsp:txXfrm>
    </dsp:sp>
    <dsp:sp modelId="{134FCBDC-4265-44FF-A6B6-6AE2249A7F10}">
      <dsp:nvSpPr>
        <dsp:cNvPr id="0" name=""/>
        <dsp:cNvSpPr/>
      </dsp:nvSpPr>
      <dsp:spPr>
        <a:xfrm>
          <a:off x="748484" y="64428"/>
          <a:ext cx="935006" cy="374002"/>
        </a:xfrm>
        <a:prstGeom prst="chevron">
          <a:avLst/>
        </a:prstGeom>
        <a:solidFill>
          <a:srgbClr val="0070C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bg1"/>
              </a:solidFill>
            </a:rPr>
            <a:t>Step 2</a:t>
          </a:r>
        </a:p>
      </dsp:txBody>
      <dsp:txXfrm>
        <a:off x="935485" y="64428"/>
        <a:ext cx="561004" cy="374002"/>
      </dsp:txXfrm>
    </dsp:sp>
    <dsp:sp modelId="{CF4E7073-9EAE-4770-B642-AA0F974E1897}">
      <dsp:nvSpPr>
        <dsp:cNvPr id="0" name=""/>
        <dsp:cNvSpPr/>
      </dsp:nvSpPr>
      <dsp:spPr>
        <a:xfrm>
          <a:off x="1496489" y="64428"/>
          <a:ext cx="935006" cy="374002"/>
        </a:xfrm>
        <a:prstGeom prst="chevron">
          <a:avLst/>
        </a:prstGeom>
        <a:solidFill>
          <a:srgbClr val="0070C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bg1"/>
              </a:solidFill>
            </a:rPr>
            <a:t>Step 3</a:t>
          </a:r>
        </a:p>
      </dsp:txBody>
      <dsp:txXfrm>
        <a:off x="1683490" y="64428"/>
        <a:ext cx="561004" cy="374002"/>
      </dsp:txXfrm>
    </dsp:sp>
    <dsp:sp modelId="{342D1293-6A2D-448C-A131-849EFE549DE8}">
      <dsp:nvSpPr>
        <dsp:cNvPr id="0" name=""/>
        <dsp:cNvSpPr/>
      </dsp:nvSpPr>
      <dsp:spPr>
        <a:xfrm>
          <a:off x="2244494" y="64428"/>
          <a:ext cx="935006" cy="374002"/>
        </a:xfrm>
        <a:prstGeom prst="chevron">
          <a:avLst/>
        </a:prstGeom>
        <a:solidFill>
          <a:srgbClr val="0070C0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003" tIns="16002" rIns="8001" bIns="16002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Step 4</a:t>
          </a:r>
        </a:p>
      </dsp:txBody>
      <dsp:txXfrm>
        <a:off x="2431495" y="64428"/>
        <a:ext cx="561004" cy="374002"/>
      </dsp:txXfrm>
    </dsp:sp>
    <dsp:sp modelId="{CF7ED32B-A9AE-423F-B576-9F6B1EE5ABE3}">
      <dsp:nvSpPr>
        <dsp:cNvPr id="0" name=""/>
        <dsp:cNvSpPr/>
      </dsp:nvSpPr>
      <dsp:spPr>
        <a:xfrm>
          <a:off x="2992500" y="64428"/>
          <a:ext cx="935006" cy="374002"/>
        </a:xfrm>
        <a:prstGeom prst="chevron">
          <a:avLst/>
        </a:prstGeom>
        <a:solidFill>
          <a:srgbClr val="0070C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bg1"/>
              </a:solidFill>
            </a:rPr>
            <a:t>UAT</a:t>
          </a:r>
        </a:p>
      </dsp:txBody>
      <dsp:txXfrm>
        <a:off x="3179501" y="64428"/>
        <a:ext cx="561004" cy="374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D8E0B1-F2DF-4373-A71C-5840A43A3C41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26B5A6-FD5D-497F-B807-B1BEAAA672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367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" marR="0" lvl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r>
              <a:rPr lang="es-MX" dirty="0"/>
              <a:t>Team: </a:t>
            </a:r>
            <a:r>
              <a:rPr lang="de-DE" sz="1100" b="0" dirty="0">
                <a:solidFill>
                  <a:schemeClr val="tx1"/>
                </a:solidFill>
                <a:latin typeface="+mn-lt"/>
              </a:rPr>
              <a:t>Rafael (Lead Developer), Baljinder(SCA SME – Mike W. Reports), Abhishek(Tech Lead Expert – SC360 Solution)</a:t>
            </a:r>
            <a:endParaRPr lang="de-DE" sz="1200" b="0" dirty="0">
              <a:solidFill>
                <a:schemeClr val="tx1"/>
              </a:solidFill>
              <a:latin typeface="+mn-lt"/>
            </a:endParaRPr>
          </a:p>
          <a:p>
            <a:r>
              <a:rPr lang="es-MX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104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53D86E-BEBE-F906-CDA8-2BB864B526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0B94B-2418-87ED-4015-07A34564FE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68865B-FD77-C9B6-073B-551C34AE5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E46001-2ADC-D0D4-C601-9DF1C1559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101C46-8E9D-85CE-C33C-A626B3326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892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E37FF3-9C93-7B11-52D6-B1B356565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CF06F2-96E6-B561-109B-92B855645C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38363-8FC4-69AD-4B27-CB18C7E1C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4ED873-0278-A709-37F8-EEAD28BE3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C9A5C-76FF-5E88-C3F0-A9732962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0642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D082FCC-490E-EC03-78CC-3E4C35AC63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A21E0A-D844-121E-830B-0A9F42F3C9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0B522C-79EF-A9AE-D08B-F0AA853D3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2D8FFB-E1FA-1DAA-3AF1-90341778C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1ACC68-D53B-5B3C-BBAD-92151636F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3255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4786F-41A9-9C7D-A39B-7EC384AD8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FE1436-44D4-A573-7334-324CDC7ACD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75DA5B-9FC8-225F-E401-2F85DE5A4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DE374-69F5-920A-C256-E30E33B08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EE405-7FD4-D030-D13A-5E234E35C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15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241C7-5C4D-D187-8D72-1C3BF260C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EB7D9C-3937-309A-D7EE-101A1A3081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EFAB01-5271-201D-1931-020435EFF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A5F20F-69DA-BDED-075B-3324855FBE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702717-E9A6-FF6C-13B5-4EA7D7CCA6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912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8A2C42-59C0-A865-3A3E-69C01ACD4C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6FFB23-D361-1CF1-D44F-15BC073B2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19C997-8970-0CFD-BD49-9ECBD14CF9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89D2AB-731A-BDE5-EBE5-C62CA5E8A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480CEF-E443-C7A6-4C76-F36850495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1F306A-8725-FA68-E334-07659A05C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6905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7DA36-839F-5D68-8994-8F7A90307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EB3A4-DB25-09DD-1AAD-ADCBA4B588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90C1E8-9A69-C00A-48E4-01C89034CB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7DF11-C1A4-D8D4-8D96-D1AD0BD12A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9B8235-37FA-EFE0-5EB4-617F8461DE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043497-4F1B-10F0-49CD-AC5BBBF77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77ECC8-78D1-F85B-E4C4-1A4AEA524B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E2DA2F-524C-9E27-A6B5-94A5D2AAB3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608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C0345B-6634-904D-8C07-9E5623039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2FCAF3-5558-ECC4-61FD-4D84486574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4D911D-70EF-0982-59F6-C45B163E51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A00B1-FCD8-C1ED-F20A-BAAE4D95F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527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14150F-ECFB-6B1C-1F50-CCDFB64A22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FF54C1-E431-E286-66AD-92D324AE6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9FB35B-8E41-43AE-C258-84A3FA5A9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762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07591B-4F63-607D-9426-1B164AB03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3A6946-BBA1-BB6A-7393-674C99C0DD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EE1024-FEDF-B5A5-CE1E-D34414E502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99772D-73F0-FC31-645F-70127E3D1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992436-386C-37F6-8CFB-1266B1433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9150BC-5F44-0A6A-D151-69C1FDCEA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9683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706FB-64FB-3D92-C231-65E18E3C2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D3C4F8D-1693-0A1D-32D8-0D7E969D53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BFA4A-B6A3-563E-A250-A4ACA2A17A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AD80D2-29F4-A303-CDFA-D36588693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CAC874-8615-0156-89E4-496701AFF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7CDD68-8FB0-CFE7-1BF9-0B86AB4A8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0966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74E8EA-3221-3645-2B34-AEA8F4E11F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E48A97-B915-B8FC-4F26-888953E4AD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70EF8D-2F66-4EC7-731F-48B05EF9B7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7365DE2-5AEA-4D22-8DA0-1FD610270B8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F5CA02-6CA5-1B66-CA7A-397EFD3C25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47D7CA-C893-DE90-5D15-5289F3F3DE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F384199-E7E0-4038-80A8-799FAB7870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915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8A7D34D-A4F7-7521-525D-2E578D33FA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A7D34D-A4F7-7521-525D-2E578D33FA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B8D131-8ABB-AA47-8983-EBCF3BBED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025" y="442259"/>
            <a:ext cx="9720072" cy="357427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Project Name</a:t>
            </a:r>
          </a:p>
        </p:txBody>
      </p:sp>
      <p:graphicFrame>
        <p:nvGraphicFramePr>
          <p:cNvPr id="12" name="Group 101">
            <a:extLst>
              <a:ext uri="{FF2B5EF4-FFF2-40B4-BE49-F238E27FC236}">
                <a16:creationId xmlns:a16="http://schemas.microsoft.com/office/drawing/2014/main" id="{4500F8F5-2387-4C42-B490-5557855A1F5D}"/>
              </a:ext>
            </a:extLst>
          </p:cNvPr>
          <p:cNvGraphicFramePr>
            <a:graphicFrameLocks noGrp="1"/>
          </p:cNvGraphicFramePr>
          <p:nvPr/>
        </p:nvGraphicFramePr>
        <p:xfrm>
          <a:off x="7162481" y="1709747"/>
          <a:ext cx="4651566" cy="248229"/>
        </p:xfrm>
        <a:graphic>
          <a:graphicData uri="http://schemas.openxmlformats.org/drawingml/2006/table">
            <a:tbl>
              <a:tblPr/>
              <a:tblGrid>
                <a:gridCol w="46515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82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kern="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Milestones</a:t>
                      </a:r>
                    </a:p>
                  </a:txBody>
                  <a:tcPr marL="84404" marR="84404" marT="45701" marB="45701" anchor="ctr" horzOverflow="overflow">
                    <a:lnL w="6350" cap="flat" cmpd="sng" algn="ctr">
                      <a:solidFill>
                        <a:srgbClr val="4255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255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255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1DF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D2A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F8E64513-6126-4005-B04F-D099702D0F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568282"/>
              </p:ext>
            </p:extLst>
          </p:nvPr>
        </p:nvGraphicFramePr>
        <p:xfrm>
          <a:off x="192024" y="1024128"/>
          <a:ext cx="6894577" cy="4784490"/>
        </p:xfrm>
        <a:graphic>
          <a:graphicData uri="http://schemas.openxmlformats.org/drawingml/2006/table">
            <a:tbl>
              <a:tblPr firstRow="1"/>
              <a:tblGrid>
                <a:gridCol w="33478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466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130">
                <a:tc gridSpan="2">
                  <a:txBody>
                    <a:bodyPr/>
                    <a:lstStyle/>
                    <a:p>
                      <a:pPr marL="0" marR="0" lvl="0" indent="0" algn="ctr" defTabSz="10188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</a:rPr>
                        <a:t>One-Line S</a:t>
                      </a:r>
                      <a:r>
                        <a:rPr lang="en-US" sz="1100" b="0" baseline="0" dirty="0">
                          <a:solidFill>
                            <a:schemeClr val="bg1"/>
                          </a:solidFill>
                          <a:latin typeface="+mn-lt"/>
                        </a:rPr>
                        <a:t>ummary for Executive Dashboard</a:t>
                      </a:r>
                      <a:endParaRPr lang="de-DE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9086301"/>
                  </a:ext>
                </a:extLst>
              </a:tr>
              <a:tr h="555075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1023275"/>
                  </a:ext>
                </a:extLst>
              </a:tr>
              <a:tr h="279130">
                <a:tc gridSpan="2">
                  <a:txBody>
                    <a:bodyPr/>
                    <a:lstStyle/>
                    <a:p>
                      <a:pPr marL="0" marR="0" indent="0" algn="l" defTabSz="10188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ut of Scope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832176"/>
                  </a:ext>
                </a:extLst>
              </a:tr>
              <a:tr h="279130">
                <a:tc gridSpan="2">
                  <a:txBody>
                    <a:bodyPr/>
                    <a:lstStyle/>
                    <a:p>
                      <a:pPr marL="0" marR="0" lvl="0" indent="0" algn="l" defTabSz="10188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753195"/>
                  </a:ext>
                </a:extLst>
              </a:tr>
              <a:tr h="27913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indent="0" algn="ctr" defTabSz="10188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xecutive Summary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401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10188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050" b="0" i="0" u="none" strike="noStrike" kern="1200" baseline="0" noProof="0" dirty="0">
                        <a:solidFill>
                          <a:schemeClr val="tx1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 Accomplishments</a:t>
                      </a:r>
                      <a:r>
                        <a:rPr lang="en-US" sz="1200" b="0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 from Last Update</a:t>
                      </a:r>
                      <a:endParaRPr lang="en-US" sz="12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2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ey</a:t>
                      </a:r>
                      <a:r>
                        <a:rPr lang="en-US" sz="1200" b="0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Upcoming Activities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9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US" sz="1050" kern="1200" noProof="0" dirty="0">
                        <a:solidFill>
                          <a:schemeClr val="tx1"/>
                        </a:solidFill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endParaRPr lang="en-US" sz="1050" kern="1200" noProof="0" dirty="0">
                        <a:solidFill>
                          <a:schemeClr val="tx1"/>
                        </a:solidFill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US" sz="1050" kern="1200" noProof="0" dirty="0">
                        <a:solidFill>
                          <a:schemeClr val="tx1"/>
                        </a:solidFill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50" kern="1200" noProof="0" dirty="0">
                        <a:solidFill>
                          <a:schemeClr val="tx1"/>
                        </a:solidFill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50" kern="1200" noProof="0" dirty="0">
                        <a:solidFill>
                          <a:schemeClr val="tx1"/>
                        </a:solidFill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8BD13B1A-068E-4B36-83C8-C097F0F0D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411956"/>
              </p:ext>
            </p:extLst>
          </p:nvPr>
        </p:nvGraphicFramePr>
        <p:xfrm>
          <a:off x="7162479" y="1031793"/>
          <a:ext cx="4651568" cy="621502"/>
        </p:xfrm>
        <a:graphic>
          <a:graphicData uri="http://schemas.openxmlformats.org/drawingml/2006/table">
            <a:tbl>
              <a:tblPr firstRow="1" bandRow="1"/>
              <a:tblGrid>
                <a:gridCol w="3425921">
                  <a:extLst>
                    <a:ext uri="{9D8B030D-6E8A-4147-A177-3AD203B41FA5}">
                      <a16:colId xmlns:a16="http://schemas.microsoft.com/office/drawing/2014/main" val="2146611839"/>
                    </a:ext>
                  </a:extLst>
                </a:gridCol>
                <a:gridCol w="1225647">
                  <a:extLst>
                    <a:ext uri="{9D8B030D-6E8A-4147-A177-3AD203B41FA5}">
                      <a16:colId xmlns:a16="http://schemas.microsoft.com/office/drawing/2014/main" val="1502812361"/>
                    </a:ext>
                  </a:extLst>
                </a:gridCol>
              </a:tblGrid>
              <a:tr h="3107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</a:rPr>
                        <a:t>Team Members</a:t>
                      </a:r>
                      <a:endParaRPr lang="de-DE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  <a:endParaRPr lang="de-DE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407292"/>
                  </a:ext>
                </a:extLst>
              </a:tr>
              <a:tr h="3107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de-DE" sz="10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de-DE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7581645"/>
                  </a:ext>
                </a:extLst>
              </a:tr>
            </a:tbl>
          </a:graphicData>
        </a:graphic>
      </p:graphicFrame>
      <p:sp>
        <p:nvSpPr>
          <p:cNvPr id="16" name="Oval 168">
            <a:extLst>
              <a:ext uri="{FF2B5EF4-FFF2-40B4-BE49-F238E27FC236}">
                <a16:creationId xmlns:a16="http://schemas.microsoft.com/office/drawing/2014/main" id="{CEF1CE90-9E09-4B72-850D-15B0ABFCEC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104704" y="1406502"/>
            <a:ext cx="186104" cy="182785"/>
          </a:xfrm>
          <a:prstGeom prst="ellipse">
            <a:avLst/>
          </a:prstGeom>
          <a:solidFill>
            <a:srgbClr val="0070C0"/>
          </a:solidFill>
          <a:ln w="6350">
            <a:solidFill>
              <a:srgbClr val="00B388"/>
            </a:solidFill>
            <a:round/>
            <a:headEnd/>
            <a:tailEnd type="none" w="med" len="sm"/>
          </a:ln>
        </p:spPr>
        <p:txBody>
          <a:bodyPr wrap="none" lIns="45696" rIns="45696" anchor="ctr"/>
          <a:lstStyle/>
          <a:p>
            <a:pPr algn="ctr">
              <a:spcBef>
                <a:spcPct val="50000"/>
              </a:spcBef>
            </a:pPr>
            <a:endParaRPr lang="en-US" sz="800" kern="0" dirty="0">
              <a:solidFill>
                <a:prstClr val="white"/>
              </a:solidFill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3A29494F-D4BC-4DAD-BDD0-E1D271F54832}"/>
              </a:ext>
            </a:extLst>
          </p:cNvPr>
          <p:cNvGraphicFramePr>
            <a:graphicFrameLocks noGrp="1"/>
          </p:cNvGraphicFramePr>
          <p:nvPr/>
        </p:nvGraphicFramePr>
        <p:xfrm>
          <a:off x="192024" y="5697036"/>
          <a:ext cx="11622021" cy="472440"/>
        </p:xfrm>
        <a:graphic>
          <a:graphicData uri="http://schemas.openxmlformats.org/drawingml/2006/table">
            <a:tbl>
              <a:tblPr firstRow="1"/>
              <a:tblGrid>
                <a:gridCol w="33674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488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425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30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Issue / Risk</a:t>
                      </a:r>
                    </a:p>
                  </a:txBody>
                  <a:tcPr marL="0" marR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Action / Resolution</a:t>
                      </a:r>
                    </a:p>
                  </a:txBody>
                  <a:tcPr marL="0" marR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Dependent Work Streams</a:t>
                      </a:r>
                    </a:p>
                  </a:txBody>
                  <a:tcPr marL="0" marR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Owner</a:t>
                      </a:r>
                    </a:p>
                  </a:txBody>
                  <a:tcPr marL="0" marR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03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443016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F8546908-4251-4DE9-B967-D179D7317D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0591248"/>
              </p:ext>
            </p:extLst>
          </p:nvPr>
        </p:nvGraphicFramePr>
        <p:xfrm>
          <a:off x="7162480" y="1947180"/>
          <a:ext cx="4651567" cy="971550"/>
        </p:xfrm>
        <a:graphic>
          <a:graphicData uri="http://schemas.openxmlformats.org/drawingml/2006/table">
            <a:tbl>
              <a:tblPr firstRow="1" bandRow="1"/>
              <a:tblGrid>
                <a:gridCol w="3435091">
                  <a:extLst>
                    <a:ext uri="{9D8B030D-6E8A-4147-A177-3AD203B41FA5}">
                      <a16:colId xmlns:a16="http://schemas.microsoft.com/office/drawing/2014/main" val="1506451812"/>
                    </a:ext>
                  </a:extLst>
                </a:gridCol>
                <a:gridCol w="1216476">
                  <a:extLst>
                    <a:ext uri="{9D8B030D-6E8A-4147-A177-3AD203B41FA5}">
                      <a16:colId xmlns:a16="http://schemas.microsoft.com/office/drawing/2014/main" val="2135202776"/>
                    </a:ext>
                  </a:extLst>
                </a:gridCol>
              </a:tblGrid>
              <a:tr h="118215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MetricHPE" panose="020B0503030202060203" pitchFamily="34" charset="0"/>
                        </a:rPr>
                        <a:t>Topic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MetricHPE" panose="020B0503030202060203" pitchFamily="34" charset="0"/>
                        </a:rPr>
                        <a:t>Target Dat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389742"/>
                  </a:ext>
                </a:extLst>
              </a:tr>
              <a:tr h="11821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MetricHPE" panose="020B0503030202060203" pitchFamily="34" charset="0"/>
                        </a:rPr>
                        <a:t>Topic 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595959"/>
                          </a:solidFill>
                          <a:effectLst/>
                          <a:latin typeface="MetricHPE" panose="020B0503030202060203" pitchFamily="34" charset="0"/>
                        </a:rPr>
                        <a:t>Dat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438546"/>
                  </a:ext>
                </a:extLst>
              </a:tr>
              <a:tr h="1182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8215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251263"/>
                  </a:ext>
                </a:extLst>
              </a:tr>
              <a:tr h="1182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9666697"/>
                  </a:ext>
                </a:extLst>
              </a:tr>
              <a:tr h="1182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8849162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1DD43C9F-DBE9-4D02-8B4F-657FEC57CE9E}"/>
              </a:ext>
            </a:extLst>
          </p:cNvPr>
          <p:cNvGrpSpPr/>
          <p:nvPr/>
        </p:nvGrpSpPr>
        <p:grpSpPr>
          <a:xfrm>
            <a:off x="964986" y="6416065"/>
            <a:ext cx="5766067" cy="228717"/>
            <a:chOff x="2074906" y="6379690"/>
            <a:chExt cx="5766067" cy="22871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EEA630D-04D2-4E1B-8085-6A0907EDAC38}"/>
                </a:ext>
              </a:extLst>
            </p:cNvPr>
            <p:cNvGrpSpPr/>
            <p:nvPr/>
          </p:nvGrpSpPr>
          <p:grpSpPr>
            <a:xfrm>
              <a:off x="3652992" y="6407820"/>
              <a:ext cx="772891" cy="182785"/>
              <a:chOff x="2141313" y="6312175"/>
              <a:chExt cx="773293" cy="182880"/>
            </a:xfrm>
          </p:grpSpPr>
          <p:sp>
            <p:nvSpPr>
              <p:cNvPr id="33" name="Oval 168">
                <a:extLst>
                  <a:ext uri="{FF2B5EF4-FFF2-40B4-BE49-F238E27FC236}">
                    <a16:creationId xmlns:a16="http://schemas.microsoft.com/office/drawing/2014/main" id="{323B7D1B-7C9C-4352-9FDB-874E87B6C72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141313" y="6312175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 type="none" w="med" len="sm"/>
                  </a14:hiddenLine>
                </a:ext>
              </a:extLst>
            </p:spPr>
            <p:txBody>
              <a:bodyPr wrap="none" lIns="45696" rIns="45696" anchor="ctr"/>
              <a:lstStyle>
                <a:lvl1pPr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SzPct val="80000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Font typeface="Wingdings 2" panose="05020102010507070707" pitchFamily="18" charset="2"/>
                  <a:buChar char="¡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106000"/>
                  </a:lnSpc>
                  <a:spcBef>
                    <a:spcPct val="400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106000"/>
                  </a:lnSpc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buClrTx/>
                  <a:buSzTx/>
                  <a:defRPr/>
                </a:pPr>
                <a:endParaRPr lang="en-US" sz="800" kern="0" dirty="0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34" name="Rectangle 169">
                <a:extLst>
                  <a:ext uri="{FF2B5EF4-FFF2-40B4-BE49-F238E27FC236}">
                    <a16:creationId xmlns:a16="http://schemas.microsoft.com/office/drawing/2014/main" id="{1C7539C2-F18B-48FC-8021-015E73750E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320725" y="6358371"/>
                <a:ext cx="593881" cy="904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696" rIns="45696" anchor="ctr"/>
              <a:lstStyle>
                <a:lvl1pPr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SzPct val="80000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Font typeface="Wingdings 2" panose="05020102010507070707" pitchFamily="18" charset="2"/>
                  <a:buChar char="¡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106000"/>
                  </a:lnSpc>
                  <a:spcBef>
                    <a:spcPct val="400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106000"/>
                  </a:lnSpc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50000"/>
                  </a:spcBef>
                  <a:buClrTx/>
                  <a:buSzTx/>
                  <a:defRPr/>
                </a:pPr>
                <a:r>
                  <a:rPr lang="en-US" sz="900" kern="0" dirty="0">
                    <a:solidFill>
                      <a:srgbClr val="000000"/>
                    </a:solidFill>
                    <a:latin typeface="+mn-lt"/>
                  </a:rPr>
                  <a:t>Off Track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C5C76098-7068-460E-94C5-CE90940D9BE9}"/>
                </a:ext>
              </a:extLst>
            </p:cNvPr>
            <p:cNvGrpSpPr/>
            <p:nvPr/>
          </p:nvGrpSpPr>
          <p:grpSpPr>
            <a:xfrm>
              <a:off x="5474209" y="6407821"/>
              <a:ext cx="866313" cy="182785"/>
              <a:chOff x="3963486" y="6312175"/>
              <a:chExt cx="866765" cy="182880"/>
            </a:xfrm>
          </p:grpSpPr>
          <p:sp>
            <p:nvSpPr>
              <p:cNvPr id="31" name="Oval 168">
                <a:extLst>
                  <a:ext uri="{FF2B5EF4-FFF2-40B4-BE49-F238E27FC236}">
                    <a16:creationId xmlns:a16="http://schemas.microsoft.com/office/drawing/2014/main" id="{B44242A9-E26E-470E-8A25-98EC91B0D98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963486" y="6312175"/>
                <a:ext cx="186201" cy="182880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 type="none" w="med" len="sm"/>
                  </a14:hiddenLine>
                </a:ext>
              </a:extLst>
            </p:spPr>
            <p:txBody>
              <a:bodyPr wrap="none" lIns="45696" rIns="45696" anchor="ctr"/>
              <a:lstStyle>
                <a:lvl1pPr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SzPct val="80000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Font typeface="Wingdings 2" panose="05020102010507070707" pitchFamily="18" charset="2"/>
                  <a:buChar char="¡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106000"/>
                  </a:lnSpc>
                  <a:spcBef>
                    <a:spcPct val="400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106000"/>
                  </a:lnSpc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buClrTx/>
                  <a:buSzTx/>
                  <a:defRPr/>
                </a:pPr>
                <a:endParaRPr lang="en-US" sz="800" kern="0" dirty="0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32" name="Rectangle 169">
                <a:extLst>
                  <a:ext uri="{FF2B5EF4-FFF2-40B4-BE49-F238E27FC236}">
                    <a16:creationId xmlns:a16="http://schemas.microsoft.com/office/drawing/2014/main" id="{CC4A00C6-D547-4D71-A091-836F0BD6A68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138747" y="6322144"/>
                <a:ext cx="691504" cy="1629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696" rIns="45696" anchor="ctr"/>
              <a:lstStyle>
                <a:lvl1pPr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SzPct val="80000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Font typeface="Wingdings 2" panose="05020102010507070707" pitchFamily="18" charset="2"/>
                  <a:buChar char="¡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106000"/>
                  </a:lnSpc>
                  <a:spcBef>
                    <a:spcPct val="400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106000"/>
                  </a:lnSpc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50000"/>
                  </a:spcBef>
                  <a:buClrTx/>
                  <a:buSzTx/>
                  <a:defRPr/>
                </a:pPr>
                <a:r>
                  <a:rPr lang="en-US" sz="900" kern="0" dirty="0">
                    <a:solidFill>
                      <a:srgbClr val="000000"/>
                    </a:solidFill>
                    <a:latin typeface="+mn-lt"/>
                  </a:rPr>
                  <a:t>Complete</a:t>
                </a:r>
              </a:p>
            </p:txBody>
          </p:sp>
        </p:grpSp>
        <p:sp>
          <p:nvSpPr>
            <p:cNvPr id="22" name="TextBox 28">
              <a:extLst>
                <a:ext uri="{FF2B5EF4-FFF2-40B4-BE49-F238E27FC236}">
                  <a16:creationId xmlns:a16="http://schemas.microsoft.com/office/drawing/2014/main" id="{87600764-B4E0-47BB-8753-7EFAADB50A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58451" y="6379690"/>
              <a:ext cx="1482522" cy="2287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106000"/>
                </a:lnSpc>
                <a:spcBef>
                  <a:spcPct val="80000"/>
                </a:spcBef>
                <a:buClr>
                  <a:schemeClr val="tx1"/>
                </a:buClr>
                <a:buSzPct val="80000"/>
                <a:defRPr sz="11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106000"/>
                </a:lnSpc>
                <a:spcBef>
                  <a:spcPct val="80000"/>
                </a:spcBef>
                <a:buClr>
                  <a:schemeClr val="tx1"/>
                </a:buClr>
                <a:buFont typeface="Wingdings 2" panose="05020102010507070707" pitchFamily="18" charset="2"/>
                <a:buChar char="¡"/>
                <a:defRPr sz="1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106000"/>
                </a:lnSpc>
                <a:spcBef>
                  <a:spcPct val="4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106000"/>
                </a:lnSpc>
                <a:spcBef>
                  <a:spcPct val="20000"/>
                </a:spcBef>
                <a:buClr>
                  <a:schemeClr val="tx1"/>
                </a:buClr>
                <a:buChar char="•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rgbClr val="000000"/>
                </a:buClr>
                <a:buSzTx/>
                <a:defRPr/>
              </a:pPr>
              <a:r>
                <a:rPr lang="en-US" sz="900" b="1" kern="0" dirty="0">
                  <a:solidFill>
                    <a:srgbClr val="000000"/>
                  </a:solidFill>
                  <a:latin typeface="+mn-lt"/>
                </a:rPr>
                <a:t>(S)</a:t>
              </a:r>
              <a:r>
                <a:rPr lang="en-US" sz="900" kern="0" dirty="0">
                  <a:solidFill>
                    <a:srgbClr val="000000"/>
                  </a:solidFill>
                  <a:latin typeface="+mn-lt"/>
                </a:rPr>
                <a:t> New scheduled date</a:t>
              </a:r>
            </a:p>
          </p:txBody>
        </p:sp>
        <p:sp>
          <p:nvSpPr>
            <p:cNvPr id="23" name="Rectangle 169">
              <a:extLst>
                <a:ext uri="{FF2B5EF4-FFF2-40B4-BE49-F238E27FC236}">
                  <a16:creationId xmlns:a16="http://schemas.microsoft.com/office/drawing/2014/main" id="{9488AED0-7ADB-459E-8B0A-6B85CA1DEF2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07009" y="6417771"/>
              <a:ext cx="691143" cy="162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696" rIns="45696" anchor="ctr"/>
            <a:lstStyle>
              <a:lvl1pPr>
                <a:lnSpc>
                  <a:spcPct val="106000"/>
                </a:lnSpc>
                <a:spcBef>
                  <a:spcPct val="80000"/>
                </a:spcBef>
                <a:buClr>
                  <a:schemeClr val="tx1"/>
                </a:buClr>
                <a:buSzPct val="80000"/>
                <a:defRPr sz="11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106000"/>
                </a:lnSpc>
                <a:spcBef>
                  <a:spcPct val="80000"/>
                </a:spcBef>
                <a:buClr>
                  <a:schemeClr val="tx1"/>
                </a:buClr>
                <a:buFont typeface="Wingdings 2" panose="05020102010507070707" pitchFamily="18" charset="2"/>
                <a:buChar char="¡"/>
                <a:defRPr sz="1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106000"/>
                </a:lnSpc>
                <a:spcBef>
                  <a:spcPct val="4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106000"/>
                </a:lnSpc>
                <a:spcBef>
                  <a:spcPct val="20000"/>
                </a:spcBef>
                <a:buClr>
                  <a:schemeClr val="tx1"/>
                </a:buClr>
                <a:buChar char="•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50000"/>
                </a:spcBef>
                <a:buClrTx/>
                <a:buSzTx/>
                <a:defRPr/>
              </a:pPr>
              <a:r>
                <a:rPr lang="en-US" sz="900" kern="0" dirty="0">
                  <a:solidFill>
                    <a:srgbClr val="000000"/>
                  </a:solidFill>
                  <a:latin typeface="+mn-lt"/>
                </a:rPr>
                <a:t>At Risk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4E709C48-E912-4BF8-893C-A18C8C879B95}"/>
                </a:ext>
              </a:extLst>
            </p:cNvPr>
            <p:cNvGrpSpPr/>
            <p:nvPr/>
          </p:nvGrpSpPr>
          <p:grpSpPr>
            <a:xfrm>
              <a:off x="2074906" y="6407820"/>
              <a:ext cx="883303" cy="182785"/>
              <a:chOff x="2074906" y="6407820"/>
              <a:chExt cx="883303" cy="182785"/>
            </a:xfrm>
          </p:grpSpPr>
          <p:sp>
            <p:nvSpPr>
              <p:cNvPr id="29" name="Oval 168">
                <a:extLst>
                  <a:ext uri="{FF2B5EF4-FFF2-40B4-BE49-F238E27FC236}">
                    <a16:creationId xmlns:a16="http://schemas.microsoft.com/office/drawing/2014/main" id="{089AEB95-1292-488C-BAFC-18366E83B4F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074906" y="6407820"/>
                <a:ext cx="186104" cy="182785"/>
              </a:xfrm>
              <a:prstGeom prst="ellipse">
                <a:avLst/>
              </a:prstGeom>
              <a:solidFill>
                <a:srgbClr val="00B050"/>
              </a:solidFill>
              <a:ln w="6350">
                <a:solidFill>
                  <a:srgbClr val="00B388"/>
                </a:solidFill>
                <a:round/>
                <a:headEnd/>
                <a:tailEnd type="none" w="med" len="sm"/>
              </a:ln>
            </p:spPr>
            <p:txBody>
              <a:bodyPr wrap="none" lIns="45696" rIns="45696" anchor="ctr"/>
              <a:lstStyle>
                <a:lvl1pPr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SzPct val="80000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Font typeface="Wingdings 2" panose="05020102010507070707" pitchFamily="18" charset="2"/>
                  <a:buChar char="¡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106000"/>
                  </a:lnSpc>
                  <a:spcBef>
                    <a:spcPct val="400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106000"/>
                  </a:lnSpc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buClrTx/>
                  <a:buSzTx/>
                  <a:defRPr/>
                </a:pPr>
                <a:endParaRPr lang="en-US" sz="800" kern="0" dirty="0">
                  <a:solidFill>
                    <a:prstClr val="white"/>
                  </a:solidFill>
                  <a:latin typeface="+mn-lt"/>
                </a:endParaRPr>
              </a:p>
            </p:txBody>
          </p:sp>
          <p:sp>
            <p:nvSpPr>
              <p:cNvPr id="30" name="Rectangle 169">
                <a:extLst>
                  <a:ext uri="{FF2B5EF4-FFF2-40B4-BE49-F238E27FC236}">
                    <a16:creationId xmlns:a16="http://schemas.microsoft.com/office/drawing/2014/main" id="{639722F5-8A6D-408E-845E-BD51AE750BE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267066" y="6417771"/>
                <a:ext cx="691143" cy="162883"/>
              </a:xfrm>
              <a:prstGeom prst="rect">
                <a:avLst/>
              </a:prstGeom>
              <a:noFill/>
              <a:ln w="6350">
                <a:solidFill>
                  <a:schemeClr val="bg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696" rIns="45696" anchor="ctr"/>
              <a:lstStyle>
                <a:lvl1pPr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SzPct val="80000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Font typeface="Wingdings 2" panose="05020102010507070707" pitchFamily="18" charset="2"/>
                  <a:buChar char="¡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106000"/>
                  </a:lnSpc>
                  <a:spcBef>
                    <a:spcPct val="400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106000"/>
                  </a:lnSpc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50000"/>
                  </a:spcBef>
                  <a:buClrTx/>
                  <a:buSzTx/>
                  <a:defRPr/>
                </a:pPr>
                <a:r>
                  <a:rPr lang="en-US" sz="900" kern="0" dirty="0">
                    <a:solidFill>
                      <a:srgbClr val="000000"/>
                    </a:solidFill>
                    <a:latin typeface="+mn-lt"/>
                  </a:rPr>
                  <a:t>On Track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27917AD-FF8A-49A6-9DE1-5CE3FA699248}"/>
                </a:ext>
              </a:extLst>
            </p:cNvPr>
            <p:cNvGrpSpPr/>
            <p:nvPr/>
          </p:nvGrpSpPr>
          <p:grpSpPr>
            <a:xfrm>
              <a:off x="4505330" y="6407821"/>
              <a:ext cx="883322" cy="182785"/>
              <a:chOff x="2994112" y="6312175"/>
              <a:chExt cx="883782" cy="182880"/>
            </a:xfrm>
          </p:grpSpPr>
          <p:sp>
            <p:nvSpPr>
              <p:cNvPr id="27" name="Oval 168">
                <a:extLst>
                  <a:ext uri="{FF2B5EF4-FFF2-40B4-BE49-F238E27FC236}">
                    <a16:creationId xmlns:a16="http://schemas.microsoft.com/office/drawing/2014/main" id="{402D1F46-A27E-4A3F-8206-5AAE67A5F5F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994112" y="6312175"/>
                <a:ext cx="186201" cy="182880"/>
              </a:xfrm>
              <a:prstGeom prst="ellipse">
                <a:avLst/>
              </a:prstGeom>
              <a:solidFill>
                <a:srgbClr val="FFFFFF">
                  <a:lumMod val="6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 type="none" w="med" len="sm"/>
                  </a14:hiddenLine>
                </a:ext>
              </a:extLst>
            </p:spPr>
            <p:txBody>
              <a:bodyPr wrap="none" lIns="45696" rIns="45696" anchor="ctr"/>
              <a:lstStyle>
                <a:lvl1pPr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SzPct val="80000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Font typeface="Wingdings 2" panose="05020102010507070707" pitchFamily="18" charset="2"/>
                  <a:buChar char="¡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106000"/>
                  </a:lnSpc>
                  <a:spcBef>
                    <a:spcPct val="400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106000"/>
                  </a:lnSpc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lnSpc>
                    <a:spcPct val="100000"/>
                  </a:lnSpc>
                  <a:spcBef>
                    <a:spcPct val="50000"/>
                  </a:spcBef>
                  <a:buClrTx/>
                  <a:buSzTx/>
                  <a:defRPr/>
                </a:pPr>
                <a:endParaRPr lang="en-US" sz="800" kern="0" dirty="0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28" name="Rectangle 169">
                <a:extLst>
                  <a:ext uri="{FF2B5EF4-FFF2-40B4-BE49-F238E27FC236}">
                    <a16:creationId xmlns:a16="http://schemas.microsoft.com/office/drawing/2014/main" id="{F40BB598-70B2-436D-8558-19DA30BB14E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186391" y="6322144"/>
                <a:ext cx="691503" cy="1629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696" rIns="45696" anchor="ctr"/>
              <a:lstStyle>
                <a:lvl1pPr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SzPct val="80000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lnSpc>
                    <a:spcPct val="106000"/>
                  </a:lnSpc>
                  <a:spcBef>
                    <a:spcPct val="80000"/>
                  </a:spcBef>
                  <a:buClr>
                    <a:schemeClr val="tx1"/>
                  </a:buClr>
                  <a:buFont typeface="Wingdings 2" panose="05020102010507070707" pitchFamily="18" charset="2"/>
                  <a:buChar char="¡"/>
                  <a:defRPr sz="11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lnSpc>
                    <a:spcPct val="106000"/>
                  </a:lnSpc>
                  <a:spcBef>
                    <a:spcPct val="400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lnSpc>
                    <a:spcPct val="106000"/>
                  </a:lnSpc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–"/>
                  <a:defRPr sz="1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50000"/>
                  </a:spcBef>
                  <a:buClrTx/>
                  <a:buSzTx/>
                  <a:defRPr/>
                </a:pPr>
                <a:r>
                  <a:rPr lang="en-US" sz="900" kern="0" dirty="0">
                    <a:solidFill>
                      <a:srgbClr val="000000"/>
                    </a:solidFill>
                    <a:latin typeface="+mn-lt"/>
                  </a:rPr>
                  <a:t>Not Started</a:t>
                </a:r>
              </a:p>
            </p:txBody>
          </p:sp>
        </p:grpSp>
        <p:sp>
          <p:nvSpPr>
            <p:cNvPr id="26" name="Oval 168">
              <a:extLst>
                <a:ext uri="{FF2B5EF4-FFF2-40B4-BE49-F238E27FC236}">
                  <a16:creationId xmlns:a16="http://schemas.microsoft.com/office/drawing/2014/main" id="{59A1EA47-D58A-46CF-90C5-EF2B5A6C3FC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58737" y="6407820"/>
              <a:ext cx="186104" cy="182785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txBody>
            <a:bodyPr wrap="none" lIns="45696" rIns="45696" anchor="ctr"/>
            <a:lstStyle>
              <a:lvl1pPr>
                <a:lnSpc>
                  <a:spcPct val="106000"/>
                </a:lnSpc>
                <a:spcBef>
                  <a:spcPct val="80000"/>
                </a:spcBef>
                <a:buClr>
                  <a:schemeClr val="tx1"/>
                </a:buClr>
                <a:buSzPct val="80000"/>
                <a:defRPr sz="11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106000"/>
                </a:lnSpc>
                <a:spcBef>
                  <a:spcPct val="80000"/>
                </a:spcBef>
                <a:buClr>
                  <a:schemeClr val="tx1"/>
                </a:buClr>
                <a:buFont typeface="Wingdings 2" panose="05020102010507070707" pitchFamily="18" charset="2"/>
                <a:buChar char="¡"/>
                <a:defRPr sz="11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106000"/>
                </a:lnSpc>
                <a:spcBef>
                  <a:spcPct val="4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106000"/>
                </a:lnSpc>
                <a:spcBef>
                  <a:spcPct val="20000"/>
                </a:spcBef>
                <a:buClr>
                  <a:schemeClr val="tx1"/>
                </a:buClr>
                <a:buChar char="•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SzTx/>
                <a:defRPr/>
              </a:pPr>
              <a:endParaRPr lang="en-US" sz="800" kern="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A2DC2F9-8382-44EF-AB93-096C0381C1C1}"/>
              </a:ext>
            </a:extLst>
          </p:cNvPr>
          <p:cNvSpPr txBox="1"/>
          <p:nvPr/>
        </p:nvSpPr>
        <p:spPr>
          <a:xfrm>
            <a:off x="10102660" y="512721"/>
            <a:ext cx="1476403" cy="2482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100" dirty="0"/>
              <a:t>Date Of Status Update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C732F2B1-8E6A-4FD9-87A6-E5B9CBD8F5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2640784"/>
              </p:ext>
            </p:extLst>
          </p:nvPr>
        </p:nvGraphicFramePr>
        <p:xfrm>
          <a:off x="7162479" y="2905759"/>
          <a:ext cx="4651566" cy="2771556"/>
        </p:xfrm>
        <a:graphic>
          <a:graphicData uri="http://schemas.openxmlformats.org/drawingml/2006/table">
            <a:tbl>
              <a:tblPr firstRow="1" bandRow="1"/>
              <a:tblGrid>
                <a:gridCol w="3392310">
                  <a:extLst>
                    <a:ext uri="{9D8B030D-6E8A-4147-A177-3AD203B41FA5}">
                      <a16:colId xmlns:a16="http://schemas.microsoft.com/office/drawing/2014/main" val="2146611839"/>
                    </a:ext>
                  </a:extLst>
                </a:gridCol>
                <a:gridCol w="1259256">
                  <a:extLst>
                    <a:ext uri="{9D8B030D-6E8A-4147-A177-3AD203B41FA5}">
                      <a16:colId xmlns:a16="http://schemas.microsoft.com/office/drawing/2014/main" val="1502812361"/>
                    </a:ext>
                  </a:extLst>
                </a:gridCol>
              </a:tblGrid>
              <a:tr h="205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+mn-lt"/>
                        </a:rPr>
                        <a:t>Capabilities</a:t>
                      </a:r>
                      <a:endParaRPr lang="de-DE" sz="10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  <a:endParaRPr lang="de-DE" sz="10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2A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407292"/>
                  </a:ext>
                </a:extLst>
              </a:tr>
              <a:tr h="1925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l"/>
                      <a:r>
                        <a:rPr lang="en-US" sz="9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MetricHPE" panose="020B0503030202060203" pitchFamily="34" charset="0"/>
                          <a:ea typeface="+mn-ea"/>
                          <a:cs typeface="+mn-cs"/>
                        </a:rPr>
                        <a:t>Topic 1</a:t>
                      </a: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900" b="0" kern="1200" dirty="0">
                          <a:solidFill>
                            <a:srgbClr val="0070C0"/>
                          </a:solidFill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ü</a:t>
                      </a: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7581645"/>
                  </a:ext>
                </a:extLst>
              </a:tr>
              <a:tr h="192522">
                <a:tc>
                  <a:txBody>
                    <a:bodyPr/>
                    <a:lstStyle/>
                    <a:p>
                      <a:pPr lvl="0" algn="l"/>
                      <a:r>
                        <a:rPr lang="en-US" sz="900" b="0" i="0" u="none" strike="noStrike" kern="1200" dirty="0">
                          <a:solidFill>
                            <a:srgbClr val="595959"/>
                          </a:solidFill>
                          <a:effectLst/>
                          <a:latin typeface="MetricHPE" panose="020B0503030202060203" pitchFamily="34" charset="0"/>
                          <a:ea typeface="+mn-ea"/>
                          <a:cs typeface="+mn-cs"/>
                        </a:rPr>
                        <a:t>Topic 2</a:t>
                      </a: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b="0" kern="1200" dirty="0">
                          <a:solidFill>
                            <a:srgbClr val="0070C0"/>
                          </a:solidFill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ü</a:t>
                      </a: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1819220"/>
                  </a:ext>
                </a:extLst>
              </a:tr>
              <a:tr h="192522">
                <a:tc>
                  <a:txBody>
                    <a:bodyPr/>
                    <a:lstStyle/>
                    <a:p>
                      <a:pPr lvl="0" algn="l"/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kern="1200" dirty="0">
                        <a:solidFill>
                          <a:srgbClr val="0070C0"/>
                        </a:solidFill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3233700"/>
                  </a:ext>
                </a:extLst>
              </a:tr>
              <a:tr h="1925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de-DE" sz="900" b="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4518720"/>
                  </a:ext>
                </a:extLst>
              </a:tr>
              <a:tr h="1925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de-DE" sz="900" b="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3807541"/>
                  </a:ext>
                </a:extLst>
              </a:tr>
              <a:tr h="1925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de-DE" sz="900" b="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07363"/>
                  </a:ext>
                </a:extLst>
              </a:tr>
              <a:tr h="1925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0345135"/>
                  </a:ext>
                </a:extLst>
              </a:tr>
              <a:tr h="1925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8736447"/>
                  </a:ext>
                </a:extLst>
              </a:tr>
              <a:tr h="2329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7175738"/>
                  </a:ext>
                </a:extLst>
              </a:tr>
              <a:tr h="2329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6154649"/>
                  </a:ext>
                </a:extLst>
              </a:tr>
              <a:tr h="2329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i="0" u="none" strike="noStrike" kern="1200" dirty="0">
                        <a:solidFill>
                          <a:srgbClr val="595959"/>
                        </a:solidFill>
                        <a:effectLst/>
                        <a:latin typeface="MetricHPE" panose="020B0503030202060203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351465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DE039CE-A12C-FEF8-DCAF-04D9EC5BD8A5}"/>
              </a:ext>
            </a:extLst>
          </p:cNvPr>
          <p:cNvSpPr/>
          <p:nvPr/>
        </p:nvSpPr>
        <p:spPr>
          <a:xfrm>
            <a:off x="11814047" y="0"/>
            <a:ext cx="377953" cy="309093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rgbClr val="000000"/>
              </a:solidFill>
            </a:endParaRPr>
          </a:p>
        </p:txBody>
      </p:sp>
      <p:sp>
        <p:nvSpPr>
          <p:cNvPr id="7" name="Oval 168">
            <a:extLst>
              <a:ext uri="{FF2B5EF4-FFF2-40B4-BE49-F238E27FC236}">
                <a16:creationId xmlns:a16="http://schemas.microsoft.com/office/drawing/2014/main" id="{5C2F0E48-3CD0-61EB-5A00-2D0E0E1DC5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4990" y="2133344"/>
            <a:ext cx="142397" cy="124130"/>
          </a:xfrm>
          <a:prstGeom prst="ellipse">
            <a:avLst/>
          </a:prstGeom>
          <a:solidFill>
            <a:srgbClr val="0070C0"/>
          </a:solidFill>
          <a:ln w="6350">
            <a:solidFill>
              <a:srgbClr val="00B388"/>
            </a:solidFill>
            <a:round/>
            <a:headEnd/>
            <a:tailEnd type="none" w="med" len="sm"/>
          </a:ln>
        </p:spPr>
        <p:txBody>
          <a:bodyPr wrap="none" lIns="45696" rIns="45696" anchor="ctr"/>
          <a:lstStyle/>
          <a:p>
            <a:pPr algn="ctr">
              <a:spcBef>
                <a:spcPct val="50000"/>
              </a:spcBef>
            </a:pPr>
            <a:endParaRPr lang="en-US" sz="800" kern="0" dirty="0">
              <a:solidFill>
                <a:prstClr val="white"/>
              </a:solidFill>
            </a:endParaRPr>
          </a:p>
        </p:txBody>
      </p:sp>
      <p:graphicFrame>
        <p:nvGraphicFramePr>
          <p:cNvPr id="9" name="Content Placeholder 4">
            <a:extLst>
              <a:ext uri="{FF2B5EF4-FFF2-40B4-BE49-F238E27FC236}">
                <a16:creationId xmlns:a16="http://schemas.microsoft.com/office/drawing/2014/main" id="{227B8DA3-7787-BD71-7B25-56B7E278EF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8860574"/>
              </p:ext>
            </p:extLst>
          </p:nvPr>
        </p:nvGraphicFramePr>
        <p:xfrm>
          <a:off x="7269770" y="6218650"/>
          <a:ext cx="3927986" cy="5028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623267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104</Words>
  <Application>Microsoft Office PowerPoint</Application>
  <PresentationFormat>Widescreen</PresentationFormat>
  <Paragraphs>3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ptos</vt:lpstr>
      <vt:lpstr>Aptos Display</vt:lpstr>
      <vt:lpstr>Arial</vt:lpstr>
      <vt:lpstr>Courier New</vt:lpstr>
      <vt:lpstr>MetricHPE</vt:lpstr>
      <vt:lpstr>Wingdings</vt:lpstr>
      <vt:lpstr>Office Theme</vt:lpstr>
      <vt:lpstr>think-cell Slide</vt:lpstr>
      <vt:lpstr>Project Na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umar, Abhay</dc:creator>
  <cp:lastModifiedBy>Kumar, Abhay</cp:lastModifiedBy>
  <cp:revision>2</cp:revision>
  <dcterms:created xsi:type="dcterms:W3CDTF">2025-09-22T10:19:12Z</dcterms:created>
  <dcterms:modified xsi:type="dcterms:W3CDTF">2025-09-22T10:37:00Z</dcterms:modified>
</cp:coreProperties>
</file>